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charset="0"/>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70" d="100"/>
          <a:sy n="70" d="100"/>
        </p:scale>
        <p:origin x="48" y="66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6CF8EFCD-9261-4CC0-B934-EE196E408C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2C2318B3-E39E-4D1D-A02A-384637C91D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F87C0E80-8B6C-4CC8-B4CA-F57741A2225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5</c:v>
                </c:pt>
                <c:pt idx="1">
                  <c:v>0.39</c:v>
                </c:pt>
                <c:pt idx="2">
                  <c:v>0.28999999999999998</c:v>
                </c:pt>
                <c:pt idx="3">
                  <c:v>7.0000000000000007E-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5%</c:v>
                  </c:pt>
                  <c:pt idx="1">
                    <c:v>39%</c:v>
                  </c:pt>
                  <c:pt idx="2">
                    <c:v>29%</c:v>
                  </c:pt>
                  <c:pt idx="3">
                    <c:v>7%</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AAFFE9D6-7FAC-47D2-BDB0-7BFD88A6EF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267134E0-B8F9-48AA-A619-A49A003DDE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98FDFA22-C612-4DB4-A3B2-2C7A741B37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01</c:v>
                </c:pt>
                <c:pt idx="1">
                  <c:v>0.15</c:v>
                </c:pt>
                <c:pt idx="2">
                  <c:v>0.53</c:v>
                </c:pt>
                <c:pt idx="3">
                  <c:v>0.3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1%</c:v>
                  </c:pt>
                  <c:pt idx="1">
                    <c:v>15%</c:v>
                  </c:pt>
                  <c:pt idx="2">
                    <c:v>53%</c:v>
                  </c:pt>
                  <c:pt idx="3">
                    <c:v>31%</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2</c:v>
                </c:pt>
                <c:pt idx="1">
                  <c:v>0.76</c:v>
                </c:pt>
                <c:pt idx="2">
                  <c:v>0.84</c:v>
                </c:pt>
                <c:pt idx="3">
                  <c:v>0.9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68046ED9-2F55-4F89-873A-F4613805A54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0BE3054D-4E73-4D70-AFB5-A8326246C12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09F05CE0-A41B-411D-AD76-2CB5BC1DB6B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8</c:v>
                </c:pt>
                <c:pt idx="1">
                  <c:v>0.24</c:v>
                </c:pt>
                <c:pt idx="2">
                  <c:v>0.16</c:v>
                </c:pt>
                <c:pt idx="3">
                  <c:v>7.0000000000000007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82%</c:v>
                  </c:pt>
                  <c:pt idx="1">
                    <c:v>76%</c:v>
                  </c:pt>
                  <c:pt idx="2">
                    <c:v>84%</c:v>
                  </c:pt>
                  <c:pt idx="3">
                    <c:v>93%</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3</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2ED3F096-E309-4A53-879D-2B620891D5B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662BDBCB-70A4-4222-940C-5C3E9064998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904C9F4D-D310-4DB0-A8A3-06151FA00D0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3DB3F333-7E71-4082-8F17-3895F17BE01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7</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3%</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1</c:v>
                </c:pt>
                <c:pt idx="1">
                  <c:v>0.83</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CD2FCD15-19FC-43C2-8644-5622D56B535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9E24FB6E-504C-4432-9C9C-CC53A51738D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3682A461-34C0-4C4F-B9EC-9594AC5E6E1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2C745513-533B-4838-A66D-AEDEF340B4F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9</c:v>
                </c:pt>
                <c:pt idx="1">
                  <c:v>0.17</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1%</c:v>
                  </c:pt>
                  <c:pt idx="1">
                    <c:v>83%</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2</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9CB3BD5F-E703-4E33-9ADE-8A9BA61F6BF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537524BE-CE2C-466D-AA91-9804AE4E846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8</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2%</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9%</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9</c:v>
                </c:pt>
                <c:pt idx="1">
                  <c:v>0.92</c:v>
                </c:pt>
                <c:pt idx="2">
                  <c:v>0.9</c:v>
                </c:pt>
                <c:pt idx="3">
                  <c:v>0.89</c:v>
                </c:pt>
                <c:pt idx="4">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F31B3F50-C345-4741-9195-9E1CAAB81D7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7DF68EE9-DD25-4F02-A3E6-0D5A208F9DA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93BCA4F8-4CE4-4DEF-AA7E-422320229B0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09F29A68-E498-4D1B-AE74-7BB2A161E21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1</c:v>
                </c:pt>
                <c:pt idx="1">
                  <c:v>0.08</c:v>
                </c:pt>
                <c:pt idx="2">
                  <c:v>0.1</c:v>
                </c:pt>
                <c:pt idx="3">
                  <c:v>0.11</c:v>
                </c:pt>
                <c:pt idx="4">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9%</c:v>
                  </c:pt>
                  <c:pt idx="1">
                    <c:v>92%</c:v>
                  </c:pt>
                  <c:pt idx="2">
                    <c:v>90%</c:v>
                  </c:pt>
                  <c:pt idx="3">
                    <c:v>89%</c:v>
                  </c:pt>
                  <c:pt idx="4">
                    <c:v>89%</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6</c:v>
                </c:pt>
                <c:pt idx="2">
                  <c:v>0.9</c:v>
                </c:pt>
                <c:pt idx="3">
                  <c:v>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C7B767E9-2949-4486-B231-549023B9D90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A517EF37-AF25-4F54-8BD3-1E9267FF37E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01ED853B-1AF9-4E1F-A497-DD86F0D1314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4000000000000001</c:v>
                </c:pt>
                <c:pt idx="2">
                  <c:v>0.1</c:v>
                </c:pt>
                <c:pt idx="3">
                  <c:v>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6%</c:v>
                  </c:pt>
                  <c:pt idx="2">
                    <c:v>90%</c:v>
                  </c:pt>
                  <c:pt idx="3">
                    <c:v>90%</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c:v>
                </c:pt>
                <c:pt idx="1">
                  <c:v>0.94</c:v>
                </c:pt>
                <c:pt idx="2">
                  <c:v>0.89</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D9CF39E9-3F8A-43D6-BEE5-6D06A4C1EA0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B0E7EF6A-6E79-43AC-B7F5-F5600D9BFEE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5B21FF3F-6D47-45CA-9BC4-D1B230E55F5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3E07DB73-2358-4A74-8BFE-D695E1D3BE9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c:v>
                </c:pt>
                <c:pt idx="1">
                  <c:v>0.06</c:v>
                </c:pt>
                <c:pt idx="2">
                  <c:v>0.11</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0%</c:v>
                  </c:pt>
                  <c:pt idx="1">
                    <c:v>94%</c:v>
                  </c:pt>
                  <c:pt idx="2">
                    <c:v>89%</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6</c:v>
                </c:pt>
                <c:pt idx="1">
                  <c:v>0.9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18CCFAE6-8E21-40BE-A70D-BC9518AD23B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50CDCBCE-68CF-411F-9FAC-2C4FE503EF4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7737B11F-E472-4CD6-87D5-E58B0902123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3A2ED520-2776-45FA-8C13-27A7D59E47D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4000000000000001</c:v>
                </c:pt>
                <c:pt idx="1">
                  <c:v>0.0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92%</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9CA321F2-9781-4098-B836-06F7F72E8D2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3574E58C-904A-4DDB-A6CC-7E594A2B1EF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90%</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89</c:v>
                </c:pt>
                <c:pt idx="2">
                  <c:v>3</c:v>
                </c:pt>
                <c:pt idx="3">
                  <c:v>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3</c:v>
                </c:pt>
                <c:pt idx="1">
                  <c:v>5</c:v>
                </c:pt>
                <c:pt idx="2">
                  <c:v>2</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7EA27E7A-9FB0-4AF5-A929-2C95CD2D89D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2893D3D9-3D76-410C-9CDE-5CDAABAE6D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BF8953B0-2771-4105-BA71-42BCEBEBBBB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6168C0CB-8A08-455A-9830-37C1AB6548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A0C34DEB-53E1-42A3-9829-24784597089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31A45BA5-A034-4B28-88A8-3067E50B30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2</c:v>
                </c:pt>
                <c:pt idx="1">
                  <c:v>6</c:v>
                </c:pt>
                <c:pt idx="2">
                  <c:v>2</c:v>
                </c:pt>
                <c:pt idx="3">
                  <c:v>1</c:v>
                </c:pt>
                <c:pt idx="4">
                  <c:v>2</c:v>
                </c:pt>
                <c:pt idx="5">
                  <c:v>3</c:v>
                </c:pt>
                <c:pt idx="6">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2%</c:v>
                  </c:pt>
                  <c:pt idx="1">
                    <c:v>6%</c:v>
                  </c:pt>
                  <c:pt idx="2">
                    <c:v>2%</c:v>
                  </c:pt>
                  <c:pt idx="3">
                    <c:v>1%</c:v>
                  </c:pt>
                  <c:pt idx="4">
                    <c:v>2%</c:v>
                  </c:pt>
                  <c:pt idx="5">
                    <c:v>3%</c:v>
                  </c:pt>
                  <c:pt idx="6">
                    <c:v>39%</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r>
                      <a:rPr lang="en-GB"/>
                      <a:t>1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305C-4A2F-9A88-03A72AE7F3F6}"/>
                </c:ext>
              </c:extLst>
            </c:dLbl>
            <c:dLbl>
              <c:idx val="2"/>
              <c:tx>
                <c:rich>
                  <a:bodyPr/>
                  <a:lstStyle/>
                  <a:p>
                    <a:fld id="{DF66DE32-2FD7-426D-A1CF-830BC2ECBF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F314E276-24D0-416F-AE0A-6CC7A414CE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2203C3FD-1131-4D22-8FFC-A921C257C4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3A4A8237-E25C-4663-A9CA-1C9FA1ECE8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9E975895-C1E5-4B72-B577-671D0AD153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2</c:v>
                </c:pt>
                <c:pt idx="1">
                  <c:v>11</c:v>
                </c:pt>
                <c:pt idx="2">
                  <c:v>5</c:v>
                </c:pt>
                <c:pt idx="3">
                  <c:v>3</c:v>
                </c:pt>
                <c:pt idx="4">
                  <c:v>15</c:v>
                </c:pt>
                <c:pt idx="5">
                  <c:v>5</c:v>
                </c:pt>
                <c:pt idx="6">
                  <c:v>2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2%</c:v>
                  </c:pt>
                  <c:pt idx="1">
                    <c:v>11%p</c:v>
                  </c:pt>
                  <c:pt idx="2">
                    <c:v>5%</c:v>
                  </c:pt>
                  <c:pt idx="3">
                    <c:v>3%</c:v>
                  </c:pt>
                  <c:pt idx="4">
                    <c:v>15%</c:v>
                  </c:pt>
                  <c:pt idx="5">
                    <c:v>5%</c:v>
                  </c:pt>
                  <c:pt idx="6">
                    <c:v>28%</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807BC14C-92B3-42CC-8F4F-5F8DF1BCDD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EC0C5CA1-0A2B-44D6-A1EC-C0952E35AC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EEF047DD-DC0B-47D1-869F-547215E83E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66E87BA1-293E-4A16-8D1D-9F899CE184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72E3BED9-04A0-4F48-A440-78382C6871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88A54BE7-1ED0-404A-BE47-1455FAA76E7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7</c:v>
                </c:pt>
                <c:pt idx="1">
                  <c:v>8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7%</c:v>
                  </c:pt>
                  <c:pt idx="1">
                    <c:v>83%</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40BC9BF4-490E-4E95-B40C-E05D03A615A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2A3964EF-BADB-420F-AEDF-58E553983F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6A38D8B8-55EF-417C-996F-D35DCCBA27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FB0816E4-4628-46CC-A7E9-7AA4FC1C28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4</c:v>
                </c:pt>
                <c:pt idx="1">
                  <c:v>0.45</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4%</c:v>
                  </c:pt>
                  <c:pt idx="1">
                    <c:v>45%</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FB273620-18CA-4D38-8711-A75F3BFE53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F726995A-902F-4C4A-9D9D-2A202894AB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2B7CA1D1-5157-4B51-BD42-C809365D81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8D232CB8-B4F6-4267-9E5F-849125578F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000000000000005</c:v>
                </c:pt>
                <c:pt idx="1">
                  <c:v>0.43</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6%</c:v>
                  </c:pt>
                  <c:pt idx="1">
                    <c:v>43%</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4B397E15-D0A9-4ADE-A7B0-B00B46B4A0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376FBD52-3632-49AB-8F18-8888205840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7A0EE5E0-2714-4BC9-B386-55508D988A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CFAB43CB-5A4A-4224-81AC-2E98E9D81D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c:v>
                </c:pt>
                <c:pt idx="1">
                  <c:v>9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c:v>
                  </c:pt>
                  <c:pt idx="1">
                    <c:v>95%</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FB46897A-553C-409D-8004-EE8A9D1CDE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84C5FEDE-9EF5-46CA-8BE6-0E592962EC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c:v>
                </c:pt>
                <c:pt idx="1">
                  <c:v>9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c:v>
                  </c:pt>
                  <c:pt idx="1">
                    <c:v>93%</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EF4719F5-5220-4BF8-867E-71A95784B65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FBDDFF6A-64B7-48F3-8807-33EBD6BC54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17B3B59A-EA8B-40F5-B813-977AE0E0EF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r>
                      <a:rPr lang="en-GB"/>
                      <a:t>6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r>
                      <a:rPr lang="en-GB"/>
                      <a:t>8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3EB-456C-B74D-581899DAC290}"/>
                </c:ext>
              </c:extLst>
            </c:dLbl>
            <c:dLbl>
              <c:idx val="5"/>
              <c:tx>
                <c:rich>
                  <a:bodyPr/>
                  <a:lstStyle/>
                  <a:p>
                    <a:fld id="{9143B8D3-5C2D-4598-8190-D54AA336F2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r>
                      <a:rPr lang="en-GB"/>
                      <a:t>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2</c:v>
                </c:pt>
                <c:pt idx="1">
                  <c:v>92</c:v>
                </c:pt>
                <c:pt idx="2">
                  <c:v>79</c:v>
                </c:pt>
                <c:pt idx="3">
                  <c:v>63</c:v>
                </c:pt>
                <c:pt idx="4">
                  <c:v>88</c:v>
                </c:pt>
                <c:pt idx="5">
                  <c:v>34</c:v>
                </c:pt>
                <c:pt idx="6">
                  <c:v>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2%</c:v>
                  </c:pt>
                  <c:pt idx="1">
                    <c:v>92%</c:v>
                  </c:pt>
                  <c:pt idx="2">
                    <c:v>79%</c:v>
                  </c:pt>
                  <c:pt idx="3">
                    <c:v>63%q</c:v>
                  </c:pt>
                  <c:pt idx="4">
                    <c:v>88%q</c:v>
                  </c:pt>
                  <c:pt idx="5">
                    <c:v>34%</c:v>
                  </c:pt>
                  <c:pt idx="6">
                    <c:v>2%p</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A2BF6EB1-95B2-49DA-AAAD-3749145899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D711929F-7AE5-4AFD-A3B1-4487218446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60%</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fld id="{B95415E1-008C-424A-91D6-A067D2B99E3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1B546274-CB7F-42DD-AEF8-75C148ADAA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1F7086F5-3349-489B-B20D-CF7F42E571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50F0F3F7-9FA3-4B23-91B5-FB3BE96E51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1</c:v>
                </c:pt>
                <c:pt idx="1">
                  <c:v>86</c:v>
                </c:pt>
                <c:pt idx="2">
                  <c:v>60</c:v>
                </c:pt>
                <c:pt idx="3">
                  <c:v>67</c:v>
                </c:pt>
                <c:pt idx="4">
                  <c:v>86</c:v>
                </c:pt>
                <c:pt idx="5">
                  <c:v>40</c:v>
                </c:pt>
                <c:pt idx="6">
                  <c:v>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1%</c:v>
                  </c:pt>
                  <c:pt idx="1">
                    <c:v>86%</c:v>
                  </c:pt>
                  <c:pt idx="2">
                    <c:v>60%q</c:v>
                  </c:pt>
                  <c:pt idx="3">
                    <c:v>67%</c:v>
                  </c:pt>
                  <c:pt idx="4">
                    <c:v>86%</c:v>
                  </c:pt>
                  <c:pt idx="5">
                    <c:v>40%</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8</c:v>
                </c:pt>
                <c:pt idx="1">
                  <c:v>29</c:v>
                </c:pt>
                <c:pt idx="2">
                  <c:v>9</c:v>
                </c:pt>
                <c:pt idx="3">
                  <c:v>2</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6</c:v>
                </c:pt>
                <c:pt idx="1">
                  <c:v>29</c:v>
                </c:pt>
                <c:pt idx="2">
                  <c:v>15</c:v>
                </c:pt>
                <c:pt idx="3">
                  <c:v>7</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EF81EC2D-9AF0-4C4D-A8BD-E634E331F9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59081A2A-D77F-411F-8D9A-3FDC54E78E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743034B4-86DA-4DF2-AE60-4E2E2EBF38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A1027074-1254-4D14-B91A-8E5AF26562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8</c:v>
                </c:pt>
                <c:pt idx="1">
                  <c:v>0.01</c:v>
                </c:pt>
                <c:pt idx="2">
                  <c:v>0.0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8%</c:v>
                  </c:pt>
                  <c:pt idx="1">
                    <c:v>1%</c:v>
                  </c:pt>
                  <c:pt idx="2">
                    <c:v>1%</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6</c:v>
                </c:pt>
                <c:pt idx="1">
                  <c:v>22</c:v>
                </c:pt>
                <c:pt idx="2">
                  <c:v>7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6</c:v>
                </c:pt>
                <c:pt idx="1">
                  <c:v>33</c:v>
                </c:pt>
                <c:pt idx="2">
                  <c:v>6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19</c:v>
                </c:pt>
                <c:pt idx="2">
                  <c:v>28</c:v>
                </c:pt>
                <c:pt idx="3">
                  <c:v>16</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2</c:v>
                </c:pt>
                <c:pt idx="1">
                  <c:v>26</c:v>
                </c:pt>
                <c:pt idx="2">
                  <c:v>15</c:v>
                </c:pt>
                <c:pt idx="3">
                  <c:v>14</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38600000000000001</c:v>
                </c:pt>
                <c:pt idx="1">
                  <c:v>0.155</c:v>
                </c:pt>
                <c:pt idx="2">
                  <c:v>0.13600000000000001</c:v>
                </c:pt>
                <c:pt idx="3">
                  <c:v>0.16700000000000001</c:v>
                </c:pt>
                <c:pt idx="4">
                  <c:v>0.15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36699999999999999</c:v>
                </c:pt>
                <c:pt idx="1">
                  <c:v>0.16600000000000001</c:v>
                </c:pt>
                <c:pt idx="2">
                  <c:v>0.122</c:v>
                </c:pt>
                <c:pt idx="3">
                  <c:v>0.192</c:v>
                </c:pt>
                <c:pt idx="4">
                  <c:v>0.154</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2</c:v>
                </c:pt>
                <c:pt idx="2">
                  <c:v>31</c:v>
                </c:pt>
                <c:pt idx="3">
                  <c:v>21</c:v>
                </c:pt>
                <c:pt idx="4">
                  <c:v>2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19</c:v>
                </c:pt>
                <c:pt idx="2">
                  <c:v>22</c:v>
                </c:pt>
                <c:pt idx="3">
                  <c:v>15</c:v>
                </c:pt>
                <c:pt idx="4">
                  <c:v>2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27</c:v>
                </c:pt>
                <c:pt idx="2">
                  <c:v>29</c:v>
                </c:pt>
                <c:pt idx="3">
                  <c:v>16</c:v>
                </c:pt>
                <c:pt idx="4">
                  <c:v>1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9</c:v>
                </c:pt>
                <c:pt idx="1">
                  <c:v>28</c:v>
                </c:pt>
                <c:pt idx="2">
                  <c:v>16</c:v>
                </c:pt>
                <c:pt idx="3">
                  <c:v>11</c:v>
                </c:pt>
                <c:pt idx="4">
                  <c:v>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3333D926-A599-4EBF-B8ED-3EDB022E41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E9459058-077F-4EA3-B5B2-9E3B8AF19A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9B2EAE5A-586C-4601-B18B-9C34230E09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6FA46252-970B-49CE-9316-AAD41ED891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4</c:v>
                </c:pt>
                <c:pt idx="1">
                  <c:v>0.02</c:v>
                </c:pt>
                <c:pt idx="2">
                  <c:v>0.02</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4%</c:v>
                  </c:pt>
                  <c:pt idx="1">
                    <c:v>2%</c:v>
                  </c:pt>
                  <c:pt idx="2">
                    <c:v>2%</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EA681B52-F166-4587-BB13-6D435D83BF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B41F7E21-0474-495B-8A14-5AE427AEB28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E8A2DD37-FE09-494E-92CE-2C5686B067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D202514E-8CDE-423E-830D-F11C93B57A0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c:v>
                </c:pt>
                <c:pt idx="1">
                  <c:v>0.02</c:v>
                </c:pt>
                <c:pt idx="2">
                  <c:v>0.05</c:v>
                </c:pt>
                <c:pt idx="3">
                  <c:v>0.02</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90%</c:v>
                  </c:pt>
                  <c:pt idx="1">
                    <c:v>2%</c:v>
                  </c:pt>
                  <c:pt idx="2">
                    <c:v>5%</c:v>
                  </c:pt>
                  <c:pt idx="3">
                    <c:v>2%</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9</c:v>
                </c:pt>
                <c:pt idx="2">
                  <c:v>34</c:v>
                </c:pt>
                <c:pt idx="3">
                  <c:v>18</c:v>
                </c:pt>
                <c:pt idx="4">
                  <c:v>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1</c:v>
                </c:pt>
                <c:pt idx="1">
                  <c:v>16</c:v>
                </c:pt>
                <c:pt idx="2">
                  <c:v>25</c:v>
                </c:pt>
                <c:pt idx="3">
                  <c:v>15</c:v>
                </c:pt>
                <c:pt idx="4">
                  <c:v>2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9</c:v>
                </c:pt>
                <c:pt idx="1">
                  <c:v>27</c:v>
                </c:pt>
                <c:pt idx="2">
                  <c:v>40</c:v>
                </c:pt>
                <c:pt idx="3">
                  <c:v>2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8</c:v>
                </c:pt>
                <c:pt idx="1">
                  <c:v>35</c:v>
                </c:pt>
                <c:pt idx="2">
                  <c:v>30</c:v>
                </c:pt>
                <c:pt idx="3">
                  <c:v>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4</c:v>
                </c:pt>
                <c:pt idx="1">
                  <c:v>39</c:v>
                </c:pt>
                <c:pt idx="2">
                  <c:v>11</c:v>
                </c:pt>
                <c:pt idx="3">
                  <c:v>2</c:v>
                </c:pt>
                <c:pt idx="4">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8</c:v>
                </c:pt>
                <c:pt idx="1">
                  <c:v>22</c:v>
                </c:pt>
                <c:pt idx="2">
                  <c:v>5</c:v>
                </c:pt>
                <c:pt idx="3">
                  <c:v>1</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5</c:v>
                </c:pt>
                <c:pt idx="1">
                  <c:v>47</c:v>
                </c:pt>
                <c:pt idx="2">
                  <c:v>15</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2</c:v>
                </c:pt>
                <c:pt idx="1">
                  <c:v>48</c:v>
                </c:pt>
                <c:pt idx="2">
                  <c:v>13</c:v>
                </c:pt>
                <c:pt idx="3">
                  <c:v>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7</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D6E4BDF1-27C5-4D64-A8DD-0F2F2E2006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84%</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F863-4EF3-8628-514246B96513}"/>
                </c:ext>
              </c:extLst>
            </c:dLbl>
            <c:dLbl>
              <c:idx val="1"/>
              <c:tx>
                <c:rich>
                  <a:bodyPr/>
                  <a:lstStyle/>
                  <a:p>
                    <a:r>
                      <a:rPr lang="en-GB"/>
                      <a:t>1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4</c:v>
                </c:pt>
                <c:pt idx="1">
                  <c:v>1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4%p</c:v>
                  </c:pt>
                  <c:pt idx="1">
                    <c:v>16%q</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469020B4-AD30-4DCF-A785-6C045C3416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AC250852-8000-448A-B992-DC734BA331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5</c:v>
                </c:pt>
                <c:pt idx="1">
                  <c:v>1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5%</c:v>
                  </c:pt>
                  <c:pt idx="1">
                    <c:v>15%</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DBA646D9-8626-454A-A5CF-D1C97C40E20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4A7DABC9-6452-460E-9D12-E4B4BDF49E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1</c:v>
                </c:pt>
                <c:pt idx="1">
                  <c:v>3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1%</c:v>
                  </c:pt>
                  <c:pt idx="1">
                    <c:v>39%</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DD00298D-BA27-45EF-BC03-A7A73A5AC9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FCE938AE-D320-462A-8A85-7B4E8988DF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C8ECE516-6583-4EF3-ADB4-C06750B423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9CF4776F-0DE9-4491-815E-629C12903C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8</c:v>
                </c:pt>
                <c:pt idx="1">
                  <c:v>6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8%</c:v>
                  </c:pt>
                  <c:pt idx="1">
                    <c:v>62%</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00575B98-4A98-4B6B-8E1F-A92A47506B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B2A34AC8-2B05-44F1-BFF9-D2657A7C10C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1</c:v>
                </c:pt>
                <c:pt idx="1">
                  <c:v>5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1%</c:v>
                  </c:pt>
                  <c:pt idx="1">
                    <c:v>59%</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6DE10B46-71C0-4361-8B72-C46F1709A07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45D38ED6-36CE-4011-899A-831D7E77C0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3</c:v>
                </c:pt>
                <c:pt idx="1">
                  <c:v>5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3%</c:v>
                  </c:pt>
                  <c:pt idx="1">
                    <c:v>57%</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B184E407-65B2-48D3-8DCC-EFAB0562B01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23E8A301-5C06-4D52-9996-952BC1D2D4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3</c:v>
                </c:pt>
                <c:pt idx="1">
                  <c:v>6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3%</c:v>
                  </c:pt>
                  <c:pt idx="1">
                    <c:v>67%</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50AEA38B-F115-4B75-8784-E3C214A9FF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59E0C46F-FB03-4689-9912-B62460E239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215CA1AD-59EA-4F48-8D01-7625F3CCF0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p</c:v>
                  </c:pt>
                  <c:pt idx="1">
                    <c:v>18%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5C9B1B60-A381-4875-B853-0E7B8783AD1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A886528D-78D3-4DF8-BC3C-6101BA82410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5</c:v>
                </c:pt>
                <c:pt idx="1">
                  <c:v>3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5%</c:v>
                  </c:pt>
                  <c:pt idx="1">
                    <c:v>35%</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57F2420A-B207-4B8E-A115-74FABC2306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6B61CB62-595D-42C3-9DF4-33E795884B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0</c:v>
                </c:pt>
                <c:pt idx="1">
                  <c:v>5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0%</c:v>
                  </c:pt>
                  <c:pt idx="1">
                    <c:v>50%</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A7709BD7-D23A-4D3F-866B-470DEB0C97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02D2252B-1682-4029-B29E-387929A4AD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D6B50632-8BE3-4797-9C19-2F3A8AE643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8A3F1AB3-7FBC-4C43-9E9F-0BABC62C1B6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7</c:v>
                </c:pt>
                <c:pt idx="1">
                  <c:v>35</c:v>
                </c:pt>
                <c:pt idx="2">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1</c:v>
                </c:pt>
                <c:pt idx="1">
                  <c:v>48</c:v>
                </c:pt>
                <c:pt idx="2">
                  <c:v>1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r>
                      <a:rPr lang="en-GB"/>
                      <a:t>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7519-4C1F-9643-9A55D10271AC}"/>
                </c:ext>
              </c:extLst>
            </c:dLbl>
            <c:dLbl>
              <c:idx val="2"/>
              <c:tx>
                <c:rich>
                  <a:bodyPr/>
                  <a:lstStyle/>
                  <a:p>
                    <a:fld id="{D1A782B6-A611-42EE-99D5-89798C9910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09C3B08F-3000-40C6-9662-5E15B57AE0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F3288482-E605-4607-BE87-7943B82D96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F8991EF6-75CA-4594-A39A-33F70DE060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9C01BB25-19B4-4B9A-8FCA-B015BD1C81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6</c:v>
                </c:pt>
                <c:pt idx="1">
                  <c:v>9</c:v>
                </c:pt>
                <c:pt idx="2">
                  <c:v>59</c:v>
                </c:pt>
                <c:pt idx="3">
                  <c:v>34</c:v>
                </c:pt>
                <c:pt idx="4">
                  <c:v>17</c:v>
                </c:pt>
                <c:pt idx="5">
                  <c:v>20</c:v>
                </c:pt>
                <c:pt idx="6">
                  <c:v>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6%</c:v>
                  </c:pt>
                  <c:pt idx="1">
                    <c:v>9%p</c:v>
                  </c:pt>
                  <c:pt idx="2">
                    <c:v>59%</c:v>
                  </c:pt>
                  <c:pt idx="3">
                    <c:v>34%</c:v>
                  </c:pt>
                  <c:pt idx="4">
                    <c:v>17%</c:v>
                  </c:pt>
                  <c:pt idx="5">
                    <c:v>20%</c:v>
                  </c:pt>
                  <c:pt idx="6">
                    <c:v>7%</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80D7AB05-90D0-4721-B9C4-0AB6E83098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13113556-FAEB-4706-A304-159EBFFD510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A981858D-2EE4-4BE1-B111-5D5799A257D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4555A5E6-3223-4E5A-B559-45ED2FA232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5BBC8AF8-E0AC-4446-BC9E-E22AA32272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6F96BB24-062E-4A3D-85B5-AB1420D641B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9</c:v>
                </c:pt>
                <c:pt idx="1">
                  <c:v>20</c:v>
                </c:pt>
                <c:pt idx="2">
                  <c:v>39</c:v>
                </c:pt>
                <c:pt idx="3">
                  <c:v>44</c:v>
                </c:pt>
                <c:pt idx="4">
                  <c:v>8</c:v>
                </c:pt>
                <c:pt idx="5">
                  <c:v>13</c:v>
                </c:pt>
                <c:pt idx="6">
                  <c:v>1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9%</c:v>
                  </c:pt>
                  <c:pt idx="1">
                    <c:v>20%</c:v>
                  </c:pt>
                  <c:pt idx="2">
                    <c:v>39%</c:v>
                  </c:pt>
                  <c:pt idx="3">
                    <c:v>44%</c:v>
                  </c:pt>
                  <c:pt idx="4">
                    <c:v>8%</c:v>
                  </c:pt>
                  <c:pt idx="5">
                    <c:v>13%</c:v>
                  </c:pt>
                  <c:pt idx="6">
                    <c:v>10%</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4</c:v>
                </c:pt>
                <c:pt idx="1">
                  <c:v>38</c:v>
                </c:pt>
                <c:pt idx="2">
                  <c:v>5</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7</c:v>
                </c:pt>
                <c:pt idx="1">
                  <c:v>37</c:v>
                </c:pt>
                <c:pt idx="2">
                  <c:v>4</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1%</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5</c:v>
                </c:pt>
                <c:pt idx="1">
                  <c:v>0.78</c:v>
                </c:pt>
                <c:pt idx="2">
                  <c:v>0.9</c:v>
                </c:pt>
                <c:pt idx="3">
                  <c:v>0.92</c:v>
                </c:pt>
                <c:pt idx="4">
                  <c:v>0.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77BBC74C-B3C0-4173-8909-54E1D9FADBB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42935815-9D48-460F-BA96-B2A16FC9267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3BDCC96E-655C-4D32-AD7D-E47A55EDA0B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E3ACF15C-3D5B-4C49-BF90-8ECC8478863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5</c:v>
                </c:pt>
                <c:pt idx="1">
                  <c:v>0.22</c:v>
                </c:pt>
                <c:pt idx="2">
                  <c:v>0.1</c:v>
                </c:pt>
                <c:pt idx="3">
                  <c:v>0.08</c:v>
                </c:pt>
                <c:pt idx="4">
                  <c:v>0.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5%</c:v>
                  </c:pt>
                  <c:pt idx="1">
                    <c:v>78%</c:v>
                  </c:pt>
                  <c:pt idx="2">
                    <c:v>90%</c:v>
                  </c:pt>
                  <c:pt idx="3">
                    <c:v>92%</c:v>
                  </c:pt>
                  <c:pt idx="4">
                    <c:v>80%</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HESHIRE AND MERSEYSID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HESHIRE AND MERSEYSID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HESHIRE AND MERSEYSID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HESHIRE AND MERSEYSID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HESHIRE AND MERSEYSID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CHESHIRE AND MERSEYSIDE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609714201"/>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Describing their experience at the last annual review as good</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80507683"/>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420677043"/>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urine test as part of their last annual review
Having a blood test check as part of their last annual review
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03727469"/>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CHESHIRE AND MERSEYSID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72879024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412080135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3% of respondents who were marked as Type 1 in the sample selected ‘Type 1’, 5% selected ‘Type 2’, 2% selected ‘Other’ and *% selected ‘I don’t know’ ​</a:t>
            </a:r>
          </a:p>
          <a:p>
            <a:pPr marL="171450" indent="-171450">
              <a:buFont typeface="Arial" panose="020B0604020202020204" pitchFamily="34" charset="0"/>
              <a:buChar char="•"/>
              <a:defRPr/>
            </a:pPr>
            <a:r>
              <a:rPr lang="en-GB" sz="1200" dirty="0">
                <a:solidFill>
                  <a:schemeClr val="tx1"/>
                </a:solidFill>
                <a:effectLst/>
              </a:rPr>
              <a:t>89% of respondents who were marked as Type 2 in the sample selected ‘Type 2’, 4% selected ‘Type 1’, 3% selected ‘Other’ and 5%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594); Type 2, ICS (779)).</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31274417"/>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88088665"/>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239263206"/>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501865474"/>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5067978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523); Type 2, National (19,941), ICS (650))</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70299337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89755436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546); Type 2, National (22,278), ICS (736))</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239033614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248675048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510); Type 2, National (21,082), ICS (691))</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99644044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68492480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593); Type 2, National (24,180), ICS (773))</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4210042068"/>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764970921"/>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583901403"/>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83716690"/>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121934180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560); Type 2, National (22,482), ICS (716))</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47309144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69045830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112367405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209754288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109363583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26944264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21151391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48659333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115777722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571); Type 2, National (22,670), ICS (725))</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195396106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66016562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332471507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397063192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78538066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61603534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33724378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402873026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97122011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591); Type 2, National (24,076), ICS (773))</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419016420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100414792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209272524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83220931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57247627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387015073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257053612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66146254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594); Type 2, National (24,153), ICS (774))</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66764766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417040982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373687636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407134944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3289115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84317034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315663074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289682784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408435642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592); Type 2, National (24,135), ICS (77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220760837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341849109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89505575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1523745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80329360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6047882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97138281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47557181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172573398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591); Type 2, National (24,084), ICS (77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200141821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84831065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171496226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05424954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57564157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325003276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5709763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50307218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30813862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594); Type 2, National (24,070), ICS (77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313334721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4013285809"/>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13759885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007049354"/>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973081850"/>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216742594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2005970061"/>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366556859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29847906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593); Type 2, National (24,260), ICS (777))</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243754699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55902975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339485752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78162407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41744403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141194560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09229994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28748012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237339953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594); Type 2, National (24,267), ICS (775))</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127671473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261873969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118057253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126510155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83799927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420464792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291894728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29390091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199923405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593); Type 2, National (24,196), ICS (775))</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150266609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88018897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120674075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590); Type 2, National (24,019), ICS (771))</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206027764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05190480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88); Type 2, National (11,860), ICS (373))</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202108865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188144817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569); Type 2, National (21,228), ICS (687))</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55825323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26607393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563); Type 2, National (20,915), ICS (657))</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10310520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181554363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534); Type 2, National (20,086), ICS (637))</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56202254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81301253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557); Type 2, National (21,890), ICS (715))</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416843143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254971170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539); Type 2, National (18,585), ICS (604))</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89003091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27090391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199649578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220410193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11834553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62123471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215476929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297833950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572); Type 2, National (22,580), ICS (731))</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12194840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673368062"/>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2764454718"/>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597615610"/>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587114486"/>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16085663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434); Type 2, National (12,350), ICS (403))</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263467741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2121456385"/>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260693196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233908298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02174753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286440649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95980446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222045870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577); Type 2, National (10,911), ICS (32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381053932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994359366"/>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722814053"/>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597321215"/>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35004633"/>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990214345"/>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500619602"/>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568))</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685949298"/>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233818375"/>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07618594"/>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685155130"/>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427047878"/>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879412506"/>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720))</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CHESHIRE AND MERSEYSID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3,567</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377</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9%</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94</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783</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72</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2,095</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991444662"/>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67510823"/>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2956391481"/>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2539684843"/>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2137172730"/>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494094662"/>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2538476754"/>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CHESHIRE AND MERSEYSID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865994526"/>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24784473"/>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459060887"/>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foot check as part of their last annual review
Participating in a course about diabetes
Having support from other people living with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914471465"/>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20</TotalTime>
  <Words>5307</Words>
  <Application>Microsoft Office PowerPoint</Application>
  <PresentationFormat>Widescreen</PresentationFormat>
  <Paragraphs>808</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Barlow</vt:lpstr>
      <vt:lpstr>Wingdings</vt:lpstr>
      <vt:lpstr>Arial Black</vt:lpstr>
      <vt:lpstr>Arial</vt:lpstr>
      <vt:lpstr>Roboto</vt:lpstr>
      <vt:lpstr>Wingdings 3</vt:lpstr>
      <vt:lpstr>Arial (Body)</vt:lpstr>
      <vt:lpstr>Segoe UI</vt:lpstr>
      <vt:lpstr>HelveticaNeueLT Std Lt Cn</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3</cp:revision>
  <cp:lastPrinted>2024-09-17T13:37:47Z</cp:lastPrinted>
  <dcterms:created xsi:type="dcterms:W3CDTF">2024-06-17T14:42:21Z</dcterms:created>
  <dcterms:modified xsi:type="dcterms:W3CDTF">2024-12-04T11:1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